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6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4FB-4B97-BB83-FBCE5B4C44E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4FB-4B97-BB83-FBCE5B4C44E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4FB-4B97-BB83-FBCE5B4C44E2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4FB-4B97-BB83-FBCE5B4C44E2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4FB-4B97-BB83-FBCE5B4C44E2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4FB-4B97-BB83-FBCE5B4C44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82-4F7F-97AD-3DE2F42FF2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CB594B-AE46-E46C-46AE-0FDA0661C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10853A-2A1A-B53F-ECBA-42BF6E731D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53607C-94A2-E582-BA9C-FA810DFDAF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BCA83D-9539-091F-B68C-5FAE948037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291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CBF72D-04A3-62C6-FDFC-68EB0E1AE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BA3189-08E9-C615-383D-9AE4EDC64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BA3189-08E9-C615-383D-9AE4EDC64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74501B84-A924-DC73-6BD8-209C0A7F6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ie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548CAE8-E239-CC58-7C7E-1F966B069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AD58BB34-E242-FC59-377C-8673114DD3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F60CF6E0-2B3A-A6F3-714F-1FE18AA27A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6" name="Chart Placeholder 5">
            <a:extLst>
              <a:ext uri="{FF2B5EF4-FFF2-40B4-BE49-F238E27FC236}">
                <a16:creationId xmlns:a16="http://schemas.microsoft.com/office/drawing/2014/main" id="{5DFB8925-7EA0-9F03-5861-6EB3F53A2779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49221F9-C09F-6E44-1681-F25E372993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3294F260-877B-0B51-CCC0-93B6BB28FE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00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2</TotalTime>
  <Words>89</Words>
  <Application>Microsoft Office PowerPoint</Application>
  <PresentationFormat>Widescreen</PresentationFormat>
  <Paragraphs>1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Pie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04</cp:revision>
  <dcterms:created xsi:type="dcterms:W3CDTF">2025-07-09T10:57:17Z</dcterms:created>
  <dcterms:modified xsi:type="dcterms:W3CDTF">2025-10-22T09:57:12Z</dcterms:modified>
  <cp:category/>
</cp:coreProperties>
</file>